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4" d="100"/>
          <a:sy n="114" d="100"/>
        </p:scale>
        <p:origin x="171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tal BONO | Studia Ingénierie" userId="69b0b433-6b0c-431e-be5c-d65239c24e11" providerId="ADAL" clId="{646AFF29-8B0B-4D3B-B6A2-D166BC675A8F}"/>
    <pc:docChg chg="undo redo modSld">
      <pc:chgData name="Chantal BONO | Studia Ingénierie" userId="69b0b433-6b0c-431e-be5c-d65239c24e11" providerId="ADAL" clId="{646AFF29-8B0B-4D3B-B6A2-D166BC675A8F}" dt="2020-03-19T14:02:52.684" v="15" actId="948"/>
      <pc:docMkLst>
        <pc:docMk/>
      </pc:docMkLst>
      <pc:sldChg chg="modSp">
        <pc:chgData name="Chantal BONO | Studia Ingénierie" userId="69b0b433-6b0c-431e-be5c-d65239c24e11" providerId="ADAL" clId="{646AFF29-8B0B-4D3B-B6A2-D166BC675A8F}" dt="2020-03-19T14:02:52.684" v="15" actId="948"/>
        <pc:sldMkLst>
          <pc:docMk/>
          <pc:sldMk cId="2369487437" sldId="376"/>
        </pc:sldMkLst>
        <pc:spChg chg="mod">
          <ac:chgData name="Chantal BONO | Studia Ingénierie" userId="69b0b433-6b0c-431e-be5c-d65239c24e11" providerId="ADAL" clId="{646AFF29-8B0B-4D3B-B6A2-D166BC675A8F}" dt="2020-03-19T14:02:52.684" v="15" actId="948"/>
          <ac:spMkLst>
            <pc:docMk/>
            <pc:sldMk cId="2369487437" sldId="376"/>
            <ac:spMk id="7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9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9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428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119767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E VANTAGEN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ÇÃO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Kit de cilindros para unidade de emenda Festo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pt-BR" sz="800">
                <a:solidFill>
                  <a:srgbClr val="000000"/>
                </a:solidFill>
              </a:rPr>
              <a:t>Valor: Obsolescência</a:t>
            </a:r>
          </a:p>
          <a:p>
            <a:pPr>
              <a:defRPr/>
            </a:pPr>
            <a:r>
              <a:rPr lang="pt-BR" sz="800">
                <a:solidFill>
                  <a:srgbClr val="000000"/>
                </a:solidFill>
              </a:rPr>
              <a:t>Equipamento: Rollquattro, Matrix</a:t>
            </a:r>
          </a:p>
          <a:p>
            <a:pPr>
              <a:defRPr/>
            </a:pPr>
            <a:r>
              <a:rPr lang="pt-BR" sz="800">
                <a:solidFill>
                  <a:srgbClr val="000000"/>
                </a:solidFill>
              </a:rPr>
              <a:t>Código do catálogo: OCL00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920515" cy="3598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b="1" dirty="0"/>
              <a:t>Solução mais segura com componente novo da Side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b="1" dirty="0">
                <a:solidFill>
                  <a:srgbClr val="E64B00"/>
                </a:solidFill>
              </a:rPr>
              <a:t>Previne longas paradas em caso de falha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spc="-20" dirty="0">
                <a:solidFill>
                  <a:srgbClr val="000000"/>
                </a:solidFill>
              </a:rPr>
              <a:t>O uso dos antigos cilindros BIMBA, instalados na gama anterior de rotuladoras, foi descontinuado pela Sidel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Risco iminente de indisponibilidade de peças de reposição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Risco de parada prolongada de equipamentos em fábricas de envase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b="1" spc="-30" dirty="0">
                <a:solidFill>
                  <a:srgbClr val="E64B00"/>
                </a:solidFill>
              </a:rPr>
              <a:t>Melhor desempenho (precisão para aplicações de alta velocidade, tempo reduzido para reiniciar após inatividade)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Testes internos mostram uma precisão de emenda aproximadamente 50% superior (de 8 mm de offset a  3 mm de offset no primeiro funcionamento após inatividade) para aplicações de alta velocidade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Taxa de falha reduzida no primeiro funcionamento após inatividade (</a:t>
            </a:r>
            <a:r>
              <a:rPr lang="fr-FR" sz="1050" dirty="0" err="1"/>
              <a:t>acionamento</a:t>
            </a:r>
            <a:r>
              <a:rPr lang="fr-FR" sz="1050" dirty="0"/>
              <a:t> </a:t>
            </a:r>
            <a:r>
              <a:rPr lang="fr-FR" sz="1050" dirty="0" err="1"/>
              <a:t>retardado</a:t>
            </a:r>
            <a:r>
              <a:rPr lang="fr-FR" sz="1050" dirty="0"/>
              <a:t> do </a:t>
            </a:r>
            <a:r>
              <a:rPr lang="fr-FR" sz="1050" dirty="0" err="1"/>
              <a:t>pistão</a:t>
            </a:r>
            <a:r>
              <a:rPr lang="fr-FR" sz="1050" dirty="0"/>
              <a:t> </a:t>
            </a:r>
            <a:r>
              <a:rPr lang="fr-FR" sz="1050" dirty="0" err="1"/>
              <a:t>após</a:t>
            </a:r>
            <a:r>
              <a:rPr lang="fr-FR" sz="1050" dirty="0"/>
              <a:t> parada </a:t>
            </a:r>
            <a:r>
              <a:rPr lang="fr-FR" sz="1050" dirty="0" err="1"/>
              <a:t>prolongada</a:t>
            </a:r>
            <a:r>
              <a:rPr lang="fr-FR" sz="1050" dirty="0"/>
              <a:t> </a:t>
            </a:r>
            <a:r>
              <a:rPr lang="pt-BR" sz="1050" dirty="0">
                <a:solidFill>
                  <a:srgbClr val="000000"/>
                </a:solidFill>
              </a:rPr>
              <a:t>)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b="1" dirty="0">
                <a:solidFill>
                  <a:srgbClr val="E64B00"/>
                </a:solidFill>
              </a:rPr>
              <a:t>Custo reduzido na compra de peças de reposição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spc="-40" dirty="0">
                <a:solidFill>
                  <a:srgbClr val="000000"/>
                </a:solidFill>
              </a:rPr>
              <a:t>O próprio cilindro de reposição teve uma redução de custo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20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Novo sistema com novos cilindros de emenda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O novo sistema consiste em novos cilindros pneumáticos Festo. Geralmente, 2 cilindros para as lâminas e 2 para os blocos para cada unidade de emenda integrada.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Inclui novas placas de montagem de blocos, novas placas de montagem de facas, conectores e material para reequipamento.</a:t>
            </a:r>
          </a:p>
        </p:txBody>
      </p:sp>
      <p:sp>
        <p:nvSpPr>
          <p:cNvPr id="25" name="CasellaDiTesto 18">
            <a:extLst>
              <a:ext uri="{FF2B5EF4-FFF2-40B4-BE49-F238E27FC236}">
                <a16:creationId xmlns:a16="http://schemas.microsoft.com/office/drawing/2014/main" id="{19892A19-482D-41E1-97F0-580233D3D27F}"/>
              </a:ext>
            </a:extLst>
          </p:cNvPr>
          <p:cNvSpPr txBox="1"/>
          <p:nvPr/>
        </p:nvSpPr>
        <p:spPr>
          <a:xfrm>
            <a:off x="4782944" y="4207795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t-BR" sz="750" b="1" i="1">
                <a:solidFill>
                  <a:schemeClr val="folHlink"/>
                </a:solidFill>
              </a:rPr>
              <a:t>Localização</a:t>
            </a:r>
          </a:p>
        </p:txBody>
      </p:sp>
      <p:sp>
        <p:nvSpPr>
          <p:cNvPr id="26" name="CasellaDiTesto 21">
            <a:extLst>
              <a:ext uri="{FF2B5EF4-FFF2-40B4-BE49-F238E27FC236}">
                <a16:creationId xmlns:a16="http://schemas.microsoft.com/office/drawing/2014/main" id="{27DB3FB4-FCFB-44C9-ABC7-A54B7247E883}"/>
              </a:ext>
            </a:extLst>
          </p:cNvPr>
          <p:cNvSpPr txBox="1"/>
          <p:nvPr/>
        </p:nvSpPr>
        <p:spPr>
          <a:xfrm>
            <a:off x="6684134" y="4207795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t-BR" sz="750" b="1" i="1">
                <a:solidFill>
                  <a:schemeClr val="folHlink"/>
                </a:solidFill>
              </a:rPr>
              <a:t>  Cilindros na unidade de emenda</a:t>
            </a:r>
          </a:p>
        </p:txBody>
      </p:sp>
      <p:pic>
        <p:nvPicPr>
          <p:cNvPr id="27" name="Immagine 1">
            <a:extLst>
              <a:ext uri="{FF2B5EF4-FFF2-40B4-BE49-F238E27FC236}">
                <a16:creationId xmlns:a16="http://schemas.microsoft.com/office/drawing/2014/main" id="{FDED6C86-4D9D-40DF-BDAF-5705302E3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3849" y="4339431"/>
            <a:ext cx="1745529" cy="1327749"/>
          </a:xfrm>
          <a:prstGeom prst="rect">
            <a:avLst/>
          </a:prstGeom>
        </p:spPr>
      </p:pic>
      <p:pic>
        <p:nvPicPr>
          <p:cNvPr id="28" name="Immagine 2">
            <a:extLst>
              <a:ext uri="{FF2B5EF4-FFF2-40B4-BE49-F238E27FC236}">
                <a16:creationId xmlns:a16="http://schemas.microsoft.com/office/drawing/2014/main" id="{22EC1DF9-ABA4-4D30-8A73-02BF0566D4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4433" y="4339431"/>
            <a:ext cx="1649627" cy="1327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000E5A-B236-47BB-9ECC-78BD714EA80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CF13E5B-8FCF-4A3B-B551-8BA0245E9E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28D604-5847-489C-8DA0-794E05DA5A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0</TotalTime>
  <Words>239</Words>
  <Application>Microsoft Office PowerPoint</Application>
  <PresentationFormat>Affichage à l'écra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Chantal BONO | Studia Ingénierie</cp:lastModifiedBy>
  <cp:revision>242</cp:revision>
  <dcterms:created xsi:type="dcterms:W3CDTF">2019-02-20T10:39:16Z</dcterms:created>
  <dcterms:modified xsi:type="dcterms:W3CDTF">2020-03-19T14:0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